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3" r:id="rId1"/>
    <p:sldMasterId id="2147483679" r:id="rId2"/>
    <p:sldMasterId id="2147483687" r:id="rId3"/>
    <p:sldMasterId id="2147483697" r:id="rId4"/>
  </p:sldMasterIdLst>
  <p:notesMasterIdLst>
    <p:notesMasterId r:id="rId14"/>
  </p:notesMasterIdLst>
  <p:sldIdLst>
    <p:sldId id="573" r:id="rId5"/>
    <p:sldId id="568" r:id="rId6"/>
    <p:sldId id="574" r:id="rId7"/>
    <p:sldId id="576" r:id="rId8"/>
    <p:sldId id="577" r:id="rId9"/>
    <p:sldId id="569" r:id="rId10"/>
    <p:sldId id="571" r:id="rId11"/>
    <p:sldId id="570" r:id="rId12"/>
    <p:sldId id="572" r:id="rId13"/>
  </p:sldIdLst>
  <p:sldSz cx="9144000" cy="6858000" type="screen4x3"/>
  <p:notesSz cx="9996488" cy="6864350"/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00"/>
    <a:srgbClr val="FFFFCC"/>
    <a:srgbClr val="99CCFF"/>
    <a:srgbClr val="21A0FF"/>
    <a:srgbClr val="008D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9822" autoAdjust="0"/>
  </p:normalViewPr>
  <p:slideViewPr>
    <p:cSldViewPr>
      <p:cViewPr varScale="1">
        <p:scale>
          <a:sx n="86" d="100"/>
          <a:sy n="86" d="100"/>
        </p:scale>
        <p:origin x="1358" y="5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 txBox="1">
            <a:spLocks noGrp="1"/>
          </p:cNvSpPr>
          <p:nvPr>
            <p:ph type="hdr" idx="2"/>
          </p:nvPr>
        </p:nvSpPr>
        <p:spPr>
          <a:xfrm>
            <a:off x="0" y="5"/>
            <a:ext cx="4331388" cy="342899"/>
          </a:xfrm>
          <a:prstGeom prst="rect">
            <a:avLst/>
          </a:prstGeom>
          <a:noFill/>
          <a:ln>
            <a:noFill/>
          </a:ln>
        </p:spPr>
        <p:txBody>
          <a:bodyPr lIns="91410" tIns="91410" rIns="91410" bIns="91410" anchor="t" anchorCtr="0"/>
          <a:lstStyle>
            <a:lvl1pPr marL="0" marR="0" indent="0" algn="l" rtl="0">
              <a:spcBef>
                <a:spcPts val="0"/>
              </a:spcBef>
              <a:spcAft>
                <a:spcPts val="0"/>
              </a:spcAft>
              <a:defRPr/>
            </a:lvl1pPr>
            <a:lvl2pPr marL="457125" marR="0" indent="0" algn="l" rtl="0">
              <a:spcBef>
                <a:spcPts val="0"/>
              </a:spcBef>
              <a:spcAft>
                <a:spcPts val="0"/>
              </a:spcAft>
              <a:defRPr/>
            </a:lvl2pPr>
            <a:lvl3pPr marL="914252" marR="0" indent="0" algn="l" rtl="0">
              <a:spcBef>
                <a:spcPts val="0"/>
              </a:spcBef>
              <a:spcAft>
                <a:spcPts val="0"/>
              </a:spcAft>
              <a:defRPr/>
            </a:lvl3pPr>
            <a:lvl4pPr marL="1371377" marR="0" indent="0" algn="l" rtl="0">
              <a:spcBef>
                <a:spcPts val="0"/>
              </a:spcBef>
              <a:spcAft>
                <a:spcPts val="0"/>
              </a:spcAft>
              <a:defRPr/>
            </a:lvl4pPr>
            <a:lvl5pPr marL="1828504" marR="0" indent="0" algn="l" rtl="0">
              <a:spcBef>
                <a:spcPts val="0"/>
              </a:spcBef>
              <a:spcAft>
                <a:spcPts val="0"/>
              </a:spcAft>
              <a:defRPr/>
            </a:lvl5pPr>
            <a:lvl6pPr marL="2285629" marR="0" indent="0" algn="l" rtl="0">
              <a:spcBef>
                <a:spcPts val="0"/>
              </a:spcBef>
              <a:defRPr/>
            </a:lvl6pPr>
            <a:lvl7pPr marL="2742754" marR="0" indent="0" algn="l" rtl="0">
              <a:spcBef>
                <a:spcPts val="0"/>
              </a:spcBef>
              <a:defRPr/>
            </a:lvl7pPr>
            <a:lvl8pPr marL="3199880" marR="0" indent="0" algn="l" rtl="0">
              <a:spcBef>
                <a:spcPts val="0"/>
              </a:spcBef>
              <a:defRPr/>
            </a:lvl8pPr>
            <a:lvl9pPr marL="3657006" marR="0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3" name="Shape 3"/>
          <p:cNvSpPr txBox="1">
            <a:spLocks noGrp="1"/>
          </p:cNvSpPr>
          <p:nvPr>
            <p:ph type="dt" idx="10"/>
          </p:nvPr>
        </p:nvSpPr>
        <p:spPr>
          <a:xfrm>
            <a:off x="5663513" y="5"/>
            <a:ext cx="4331388" cy="342899"/>
          </a:xfrm>
          <a:prstGeom prst="rect">
            <a:avLst/>
          </a:prstGeom>
          <a:noFill/>
          <a:ln>
            <a:noFill/>
          </a:ln>
        </p:spPr>
        <p:txBody>
          <a:bodyPr lIns="91410" tIns="91410" rIns="91410" bIns="91410" anchor="t" anchorCtr="0"/>
          <a:lstStyle>
            <a:lvl1pPr marL="0" marR="0" indent="0" algn="r" rtl="0">
              <a:spcBef>
                <a:spcPts val="0"/>
              </a:spcBef>
              <a:spcAft>
                <a:spcPts val="0"/>
              </a:spcAft>
              <a:defRPr/>
            </a:lvl1pPr>
            <a:lvl2pPr marL="457125" marR="0" indent="0" algn="l" rtl="0">
              <a:spcBef>
                <a:spcPts val="0"/>
              </a:spcBef>
              <a:spcAft>
                <a:spcPts val="0"/>
              </a:spcAft>
              <a:defRPr/>
            </a:lvl2pPr>
            <a:lvl3pPr marL="914252" marR="0" indent="0" algn="l" rtl="0">
              <a:spcBef>
                <a:spcPts val="0"/>
              </a:spcBef>
              <a:spcAft>
                <a:spcPts val="0"/>
              </a:spcAft>
              <a:defRPr/>
            </a:lvl3pPr>
            <a:lvl4pPr marL="1371377" marR="0" indent="0" algn="l" rtl="0">
              <a:spcBef>
                <a:spcPts val="0"/>
              </a:spcBef>
              <a:spcAft>
                <a:spcPts val="0"/>
              </a:spcAft>
              <a:defRPr/>
            </a:lvl4pPr>
            <a:lvl5pPr marL="1828504" marR="0" indent="0" algn="l" rtl="0">
              <a:spcBef>
                <a:spcPts val="0"/>
              </a:spcBef>
              <a:spcAft>
                <a:spcPts val="0"/>
              </a:spcAft>
              <a:defRPr/>
            </a:lvl5pPr>
            <a:lvl6pPr marL="2285629" marR="0" indent="0" algn="l" rtl="0">
              <a:spcBef>
                <a:spcPts val="0"/>
              </a:spcBef>
              <a:defRPr/>
            </a:lvl6pPr>
            <a:lvl7pPr marL="2742754" marR="0" indent="0" algn="l" rtl="0">
              <a:spcBef>
                <a:spcPts val="0"/>
              </a:spcBef>
              <a:defRPr/>
            </a:lvl7pPr>
            <a:lvl8pPr marL="3199880" marR="0" indent="0" algn="l" rtl="0">
              <a:spcBef>
                <a:spcPts val="0"/>
              </a:spcBef>
              <a:defRPr/>
            </a:lvl8pPr>
            <a:lvl9pPr marL="3657006" marR="0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4" name="Shape 4"/>
          <p:cNvSpPr>
            <a:spLocks noGrp="1" noRot="1" noChangeAspect="1"/>
          </p:cNvSpPr>
          <p:nvPr>
            <p:ph type="sldImg" idx="3"/>
          </p:nvPr>
        </p:nvSpPr>
        <p:spPr>
          <a:xfrm>
            <a:off x="3282950" y="514350"/>
            <a:ext cx="3430588" cy="25733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" name="Shape 5"/>
          <p:cNvSpPr txBox="1">
            <a:spLocks noGrp="1"/>
          </p:cNvSpPr>
          <p:nvPr>
            <p:ph type="body" idx="1"/>
          </p:nvPr>
        </p:nvSpPr>
        <p:spPr>
          <a:xfrm>
            <a:off x="1000285" y="3260727"/>
            <a:ext cx="7997509" cy="3089275"/>
          </a:xfrm>
          <a:prstGeom prst="rect">
            <a:avLst/>
          </a:prstGeom>
          <a:noFill/>
          <a:ln>
            <a:noFill/>
          </a:ln>
        </p:spPr>
        <p:txBody>
          <a:bodyPr lIns="91410" tIns="91410" rIns="91410" bIns="91410" anchor="t" anchorCtr="0"/>
          <a:lstStyle>
            <a:lvl1pPr marL="0" marR="0" indent="0" algn="l" rtl="0">
              <a:spcBef>
                <a:spcPts val="360"/>
              </a:spcBef>
              <a:spcAft>
                <a:spcPts val="0"/>
              </a:spcAft>
              <a:defRPr/>
            </a:lvl1pPr>
            <a:lvl2pPr marL="457200" marR="0" indent="0" algn="l" rtl="0">
              <a:spcBef>
                <a:spcPts val="360"/>
              </a:spcBef>
              <a:spcAft>
                <a:spcPts val="0"/>
              </a:spcAft>
              <a:defRPr/>
            </a:lvl2pPr>
            <a:lvl3pPr marL="914400" marR="0" indent="0" algn="l" rtl="0">
              <a:spcBef>
                <a:spcPts val="360"/>
              </a:spcBef>
              <a:spcAft>
                <a:spcPts val="0"/>
              </a:spcAft>
              <a:defRPr/>
            </a:lvl3pPr>
            <a:lvl4pPr marL="1371600" marR="0" indent="0" algn="l" rtl="0">
              <a:spcBef>
                <a:spcPts val="360"/>
              </a:spcBef>
              <a:spcAft>
                <a:spcPts val="0"/>
              </a:spcAft>
              <a:defRPr/>
            </a:lvl4pPr>
            <a:lvl5pPr marL="1828800" marR="0" indent="0" algn="l" rtl="0">
              <a:spcBef>
                <a:spcPts val="360"/>
              </a:spcBef>
              <a:spcAft>
                <a:spcPts val="0"/>
              </a:spcAft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ftr" idx="11"/>
          </p:nvPr>
        </p:nvSpPr>
        <p:spPr>
          <a:xfrm>
            <a:off x="0" y="6519864"/>
            <a:ext cx="4331388" cy="342899"/>
          </a:xfrm>
          <a:prstGeom prst="rect">
            <a:avLst/>
          </a:prstGeom>
          <a:noFill/>
          <a:ln>
            <a:noFill/>
          </a:ln>
        </p:spPr>
        <p:txBody>
          <a:bodyPr lIns="91410" tIns="91410" rIns="91410" bIns="91410" anchor="b" anchorCtr="0"/>
          <a:lstStyle>
            <a:lvl1pPr marL="0" marR="0" indent="0" algn="l" rtl="0">
              <a:spcBef>
                <a:spcPts val="0"/>
              </a:spcBef>
              <a:spcAft>
                <a:spcPts val="0"/>
              </a:spcAft>
              <a:defRPr/>
            </a:lvl1pPr>
            <a:lvl2pPr marL="457125" marR="0" indent="0" algn="l" rtl="0">
              <a:spcBef>
                <a:spcPts val="0"/>
              </a:spcBef>
              <a:spcAft>
                <a:spcPts val="0"/>
              </a:spcAft>
              <a:defRPr/>
            </a:lvl2pPr>
            <a:lvl3pPr marL="914252" marR="0" indent="0" algn="l" rtl="0">
              <a:spcBef>
                <a:spcPts val="0"/>
              </a:spcBef>
              <a:spcAft>
                <a:spcPts val="0"/>
              </a:spcAft>
              <a:defRPr/>
            </a:lvl3pPr>
            <a:lvl4pPr marL="1371377" marR="0" indent="0" algn="l" rtl="0">
              <a:spcBef>
                <a:spcPts val="0"/>
              </a:spcBef>
              <a:spcAft>
                <a:spcPts val="0"/>
              </a:spcAft>
              <a:defRPr/>
            </a:lvl4pPr>
            <a:lvl5pPr marL="1828504" marR="0" indent="0" algn="l" rtl="0">
              <a:spcBef>
                <a:spcPts val="0"/>
              </a:spcBef>
              <a:spcAft>
                <a:spcPts val="0"/>
              </a:spcAft>
              <a:defRPr/>
            </a:lvl5pPr>
            <a:lvl6pPr marL="2285629" marR="0" indent="0" algn="l" rtl="0">
              <a:spcBef>
                <a:spcPts val="0"/>
              </a:spcBef>
              <a:defRPr/>
            </a:lvl6pPr>
            <a:lvl7pPr marL="2742754" marR="0" indent="0" algn="l" rtl="0">
              <a:spcBef>
                <a:spcPts val="0"/>
              </a:spcBef>
              <a:defRPr/>
            </a:lvl7pPr>
            <a:lvl8pPr marL="3199880" marR="0" indent="0" algn="l" rtl="0">
              <a:spcBef>
                <a:spcPts val="0"/>
              </a:spcBef>
              <a:defRPr/>
            </a:lvl8pPr>
            <a:lvl9pPr marL="3657006" marR="0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5663513" y="6519864"/>
            <a:ext cx="4331388" cy="342899"/>
          </a:xfrm>
          <a:prstGeom prst="rect">
            <a:avLst/>
          </a:prstGeom>
          <a:noFill/>
          <a:ln>
            <a:noFill/>
          </a:ln>
        </p:spPr>
        <p:txBody>
          <a:bodyPr lIns="92135" tIns="46069" rIns="92135" bIns="46069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pt-BR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nº›</a:t>
            </a:fld>
            <a:endParaRPr lang="pt-B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8818505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>
            <a:spLocks noGrp="1" noRot="1" noChangeAspect="1"/>
          </p:cNvSpPr>
          <p:nvPr>
            <p:ph type="sldImg" idx="2"/>
          </p:nvPr>
        </p:nvSpPr>
        <p:spPr>
          <a:xfrm>
            <a:off x="3282950" y="514350"/>
            <a:ext cx="3430588" cy="25733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50" name="Shape 150"/>
          <p:cNvSpPr txBox="1">
            <a:spLocks noGrp="1"/>
          </p:cNvSpPr>
          <p:nvPr>
            <p:ph type="body" idx="1"/>
          </p:nvPr>
        </p:nvSpPr>
        <p:spPr>
          <a:xfrm>
            <a:off x="1000285" y="3260727"/>
            <a:ext cx="7997509" cy="3089275"/>
          </a:xfrm>
          <a:prstGeom prst="rect">
            <a:avLst/>
          </a:prstGeom>
          <a:noFill/>
          <a:ln>
            <a:noFill/>
          </a:ln>
        </p:spPr>
        <p:txBody>
          <a:bodyPr lIns="92135" tIns="46069" rIns="92135" bIns="46069" anchor="t" anchorCtr="0">
            <a:noAutofit/>
          </a:bodyPr>
          <a:lstStyle/>
          <a:p>
            <a:pPr>
              <a:spcBef>
                <a:spcPts val="0"/>
              </a:spcBef>
            </a:pP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1181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Shape 507"/>
          <p:cNvSpPr txBox="1">
            <a:spLocks noGrp="1"/>
          </p:cNvSpPr>
          <p:nvPr>
            <p:ph type="body" idx="1"/>
          </p:nvPr>
        </p:nvSpPr>
        <p:spPr>
          <a:xfrm>
            <a:off x="1000285" y="3260727"/>
            <a:ext cx="7997509" cy="3089275"/>
          </a:xfrm>
          <a:prstGeom prst="rect">
            <a:avLst/>
          </a:prstGeom>
        </p:spPr>
        <p:txBody>
          <a:bodyPr lIns="91410" tIns="91410" rIns="91410" bIns="91410" anchor="t" anchorCtr="0">
            <a:noAutofit/>
          </a:bodyPr>
          <a:lstStyle/>
          <a:p>
            <a:pPr>
              <a:spcBef>
                <a:spcPts val="0"/>
              </a:spcBef>
            </a:pPr>
            <a:endParaRPr dirty="0"/>
          </a:p>
        </p:txBody>
      </p:sp>
      <p:sp>
        <p:nvSpPr>
          <p:cNvPr id="508" name="Shape 508"/>
          <p:cNvSpPr>
            <a:spLocks noGrp="1" noRot="1" noChangeAspect="1"/>
          </p:cNvSpPr>
          <p:nvPr>
            <p:ph type="sldImg" idx="2"/>
          </p:nvPr>
        </p:nvSpPr>
        <p:spPr>
          <a:xfrm>
            <a:off x="3282950" y="514350"/>
            <a:ext cx="3430588" cy="25733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1390814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1.jpeg"/><Relationship Id="rId4" Type="http://schemas.openxmlformats.org/officeDocument/2006/relationships/tags" Target="../tags/tag10.xml"/><Relationship Id="rId9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onitor Red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76310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263650"/>
            <a:ext cx="8229600" cy="5181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098453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/>
          </p:nvPr>
        </p:nvSpPr>
        <p:spPr>
          <a:xfrm>
            <a:off x="450850" y="1454150"/>
            <a:ext cx="8267848" cy="50848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46113" y="389982"/>
            <a:ext cx="6858000" cy="685800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188368191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2007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9097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Red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1000" y="1263650"/>
            <a:ext cx="8229600" cy="51846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04150177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onitor Red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632526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onitor R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784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onitor Re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lum bright="10000"/>
          </a:blip>
          <a:srcRect/>
          <a:stretch>
            <a:fillRect/>
          </a:stretch>
        </p:blipFill>
        <p:spPr bwMode="auto">
          <a:xfrm>
            <a:off x="0" y="0"/>
            <a:ext cx="9144000" cy="666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028" descr="LogoAbiv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clrChange>
              <a:clrFrom>
                <a:srgbClr val="F6FFFF"/>
              </a:clrFrom>
              <a:clrTo>
                <a:srgbClr val="F6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75425" y="214313"/>
            <a:ext cx="23399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8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39092" y="3903785"/>
            <a:ext cx="6172200" cy="1092703"/>
          </a:xfrm>
          <a:prstGeom prst="rect">
            <a:avLst/>
          </a:prstGeom>
          <a:noFill/>
        </p:spPr>
        <p:txBody>
          <a:bodyPr/>
          <a:lstStyle>
            <a:lvl1pPr algn="r"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pt-BR" smtClean="0"/>
              <a:t>Click to edit Master title style</a:t>
            </a:r>
            <a:endParaRPr lang="pt-BR" dirty="0"/>
          </a:p>
        </p:txBody>
      </p:sp>
      <p:sp>
        <p:nvSpPr>
          <p:cNvPr id="3368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39092" y="5039204"/>
            <a:ext cx="6172200" cy="384048"/>
          </a:xfrm>
          <a:prstGeom prst="rect">
            <a:avLst/>
          </a:prstGeom>
          <a:noFill/>
        </p:spPr>
        <p:txBody>
          <a:bodyPr/>
          <a:lstStyle>
            <a:lvl1pPr algn="r">
              <a:buFont typeface="Wingdings" pitchFamily="2" charset="2"/>
              <a:buNone/>
              <a:defRPr b="1" i="0">
                <a:solidFill>
                  <a:srgbClr val="6B747C"/>
                </a:solidFill>
                <a:latin typeface="+mj-lt"/>
              </a:defRPr>
            </a:lvl1pPr>
          </a:lstStyle>
          <a:p>
            <a:r>
              <a:rPr lang="pt-BR" smtClean="0"/>
              <a:t>Click to edit Master sub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71650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263650"/>
            <a:ext cx="8229600" cy="5181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653516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/>
          </p:nvPr>
        </p:nvSpPr>
        <p:spPr>
          <a:xfrm>
            <a:off x="450850" y="1454150"/>
            <a:ext cx="8267848" cy="50848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46113" y="389982"/>
            <a:ext cx="6858000" cy="685800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1127816083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2007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018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onitor R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977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Red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1000" y="1263650"/>
            <a:ext cx="8229600" cy="51846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67070178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onitor Red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63847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onitor R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738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onitor Re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lum bright="10000"/>
          </a:blip>
          <a:srcRect/>
          <a:stretch>
            <a:fillRect/>
          </a:stretch>
        </p:blipFill>
        <p:spPr bwMode="auto">
          <a:xfrm>
            <a:off x="0" y="0"/>
            <a:ext cx="9144000" cy="666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028" descr="LogoAbiv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clrChange>
              <a:clrFrom>
                <a:srgbClr val="F6FFFF"/>
              </a:clrFrom>
              <a:clrTo>
                <a:srgbClr val="F6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75425" y="214313"/>
            <a:ext cx="23399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8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39092" y="3903785"/>
            <a:ext cx="6172200" cy="1092703"/>
          </a:xfrm>
          <a:prstGeom prst="rect">
            <a:avLst/>
          </a:prstGeom>
          <a:noFill/>
        </p:spPr>
        <p:txBody>
          <a:bodyPr/>
          <a:lstStyle>
            <a:lvl1pPr algn="r"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pt-BR" smtClean="0"/>
              <a:t>Click to edit Master title style</a:t>
            </a:r>
            <a:endParaRPr lang="pt-BR" dirty="0"/>
          </a:p>
        </p:txBody>
      </p:sp>
      <p:sp>
        <p:nvSpPr>
          <p:cNvPr id="3368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39092" y="5039204"/>
            <a:ext cx="6172200" cy="384048"/>
          </a:xfrm>
          <a:prstGeom prst="rect">
            <a:avLst/>
          </a:prstGeom>
          <a:noFill/>
        </p:spPr>
        <p:txBody>
          <a:bodyPr/>
          <a:lstStyle>
            <a:lvl1pPr algn="r">
              <a:buFont typeface="Wingdings" pitchFamily="2" charset="2"/>
              <a:buNone/>
              <a:defRPr b="1" i="0">
                <a:solidFill>
                  <a:srgbClr val="6B747C"/>
                </a:solidFill>
                <a:latin typeface="+mj-lt"/>
              </a:defRPr>
            </a:lvl1pPr>
          </a:lstStyle>
          <a:p>
            <a:r>
              <a:rPr lang="pt-BR" smtClean="0"/>
              <a:t>Click to edit Master sub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708128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263650"/>
            <a:ext cx="8229600" cy="5181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945871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/>
          </p:nvPr>
        </p:nvSpPr>
        <p:spPr>
          <a:xfrm>
            <a:off x="450850" y="1454150"/>
            <a:ext cx="8267848" cy="50848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46113" y="389982"/>
            <a:ext cx="6858000" cy="685800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374766287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2007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25520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Monitor Re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6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>
            <a:lum bright="10000"/>
          </a:blip>
          <a:srcRect/>
          <a:stretch>
            <a:fillRect/>
          </a:stretch>
        </p:blipFill>
        <p:spPr bwMode="auto">
          <a:xfrm>
            <a:off x="0" y="0"/>
            <a:ext cx="9144000" cy="666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1028" descr="LogoAbiv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>
            <a:clrChange>
              <a:clrFrom>
                <a:srgbClr val="F6FFFF"/>
              </a:clrFrom>
              <a:clrTo>
                <a:srgbClr val="F6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75425" y="214313"/>
            <a:ext cx="23399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898" name="Rectangle 2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439092" y="3903785"/>
            <a:ext cx="6172200" cy="1092703"/>
          </a:xfrm>
          <a:noFill/>
        </p:spPr>
        <p:txBody>
          <a:bodyPr lIns="45720" tIns="45720" rIns="45720" bIns="45720" anchor="b"/>
          <a:lstStyle>
            <a:lvl1pPr algn="r"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pt-BR" smtClean="0"/>
              <a:t>Click to edit Master title style</a:t>
            </a:r>
            <a:endParaRPr lang="pt-BR" dirty="0"/>
          </a:p>
        </p:txBody>
      </p:sp>
      <p:sp>
        <p:nvSpPr>
          <p:cNvPr id="336899" name="Rectangle 3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439092" y="5039204"/>
            <a:ext cx="6172200" cy="384048"/>
          </a:xfrm>
          <a:noFill/>
        </p:spPr>
        <p:txBody>
          <a:bodyPr lIns="45720" tIns="45720" rIns="45720" bIns="45720" anchor="t"/>
          <a:lstStyle>
            <a:lvl1pPr algn="r">
              <a:buFont typeface="Wingdings" pitchFamily="2" charset="2"/>
              <a:buNone/>
              <a:defRPr b="1" i="0">
                <a:solidFill>
                  <a:srgbClr val="6B747C"/>
                </a:solidFill>
                <a:latin typeface="+mj-lt"/>
              </a:defRPr>
            </a:lvl1pPr>
          </a:lstStyle>
          <a:p>
            <a:r>
              <a:rPr lang="pt-BR" smtClean="0"/>
              <a:t>Click to edit Master sub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30078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797787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onitor Red Title, Bullets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title"/>
          </p:nvPr>
        </p:nvSpPr>
        <p:spPr>
          <a:xfrm>
            <a:off x="609599" y="609600"/>
            <a:ext cx="6347712" cy="1320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spcBef>
                <a:spcPts val="0"/>
              </a:spcBef>
              <a:buClr>
                <a:schemeClr val="accent1"/>
              </a:buClr>
              <a:buFont typeface="Trebuchet MS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4" name="Shape 44"/>
          <p:cNvSpPr txBox="1">
            <a:spLocks noGrp="1"/>
          </p:cNvSpPr>
          <p:nvPr>
            <p:ph type="body" idx="1"/>
          </p:nvPr>
        </p:nvSpPr>
        <p:spPr>
          <a:xfrm>
            <a:off x="381000" y="1263650"/>
            <a:ext cx="8229600" cy="518464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indent="-25145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1pPr>
            <a:lvl2pPr marL="742950" indent="-20446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2pPr>
            <a:lvl3pPr marL="1143000" indent="-15748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3pPr>
            <a:lvl4pPr marL="1600200" indent="-16763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4pPr>
            <a:lvl5pPr marL="2057400" indent="-16763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5pPr>
            <a:lvl6pPr marL="2514600" indent="-16763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6pPr>
            <a:lvl7pPr marL="2971800" indent="-16763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7pPr>
            <a:lvl8pPr marL="3429000" indent="-16764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8pPr>
            <a:lvl9pPr marL="3886200" indent="-16764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Char char="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4243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Red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1000" y="1263650"/>
            <a:ext cx="8229600" cy="51846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56486699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onitor Red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84137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89894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onitor R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99526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onitor Re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lum bright="10000"/>
          </a:blip>
          <a:srcRect/>
          <a:stretch>
            <a:fillRect/>
          </a:stretch>
        </p:blipFill>
        <p:spPr bwMode="auto">
          <a:xfrm>
            <a:off x="0" y="0"/>
            <a:ext cx="9144000" cy="666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028" descr="LogoAbiv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clrChange>
              <a:clrFrom>
                <a:srgbClr val="F6FFFF"/>
              </a:clrFrom>
              <a:clrTo>
                <a:srgbClr val="F6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75425" y="214313"/>
            <a:ext cx="23399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8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39092" y="3903785"/>
            <a:ext cx="6172200" cy="1092703"/>
          </a:xfrm>
          <a:prstGeom prst="rect">
            <a:avLst/>
          </a:prstGeom>
          <a:noFill/>
        </p:spPr>
        <p:txBody>
          <a:bodyPr/>
          <a:lstStyle>
            <a:lvl1pPr algn="r"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pt-BR" smtClean="0"/>
              <a:t>Click to edit Master title style</a:t>
            </a:r>
            <a:endParaRPr lang="pt-BR" dirty="0"/>
          </a:p>
        </p:txBody>
      </p:sp>
      <p:sp>
        <p:nvSpPr>
          <p:cNvPr id="3368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39092" y="5039204"/>
            <a:ext cx="6172200" cy="384048"/>
          </a:xfrm>
          <a:prstGeom prst="rect">
            <a:avLst/>
          </a:prstGeom>
          <a:noFill/>
        </p:spPr>
        <p:txBody>
          <a:bodyPr/>
          <a:lstStyle>
            <a:lvl1pPr algn="r">
              <a:buFont typeface="Wingdings" pitchFamily="2" charset="2"/>
              <a:buNone/>
              <a:defRPr b="1" i="0">
                <a:solidFill>
                  <a:srgbClr val="6B747C"/>
                </a:solidFill>
                <a:latin typeface="+mj-lt"/>
              </a:defRPr>
            </a:lvl1pPr>
          </a:lstStyle>
          <a:p>
            <a:r>
              <a:rPr lang="pt-BR" smtClean="0"/>
              <a:t>Click to edit Master sub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1639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6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9.xml"/><Relationship Id="rId9" Type="http://schemas.openxmlformats.org/officeDocument/2006/relationships/vmlDrawing" Target="../drawings/vmlDrawing3.vml"/><Relationship Id="rId14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23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5.vml"/><Relationship Id="rId14" Type="http://schemas.openxmlformats.org/officeDocument/2006/relationships/tags" Target="../tags/tag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31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7.vml"/><Relationship Id="rId14" Type="http://schemas.openxmlformats.org/officeDocument/2006/relationships/tags" Target="../tags/tag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5874" name="Rectangle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81000" y="0"/>
            <a:ext cx="8229600" cy="841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Title 1</a:t>
            </a:r>
            <a:br>
              <a:rPr lang="pt-BR" smtClean="0"/>
            </a:br>
            <a:r>
              <a:rPr lang="pt-BR" smtClean="0"/>
              <a:t>Title 2</a:t>
            </a:r>
            <a:endParaRPr lang="pt-BR" dirty="0" smtClean="0"/>
          </a:p>
        </p:txBody>
      </p:sp>
      <p:sp>
        <p:nvSpPr>
          <p:cNvPr id="335875" name="Rectangle 3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381000" y="1263650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A-point</a:t>
            </a:r>
          </a:p>
          <a:p>
            <a:pPr lvl="1"/>
            <a:r>
              <a:rPr lang="pt-BR" smtClean="0"/>
              <a:t>B-point</a:t>
            </a:r>
          </a:p>
          <a:p>
            <a:pPr lvl="2"/>
            <a:r>
              <a:rPr lang="pt-BR" smtClean="0"/>
              <a:t>C-point</a:t>
            </a:r>
          </a:p>
          <a:p>
            <a:pPr lvl="3"/>
            <a:r>
              <a:rPr lang="pt-BR" smtClean="0"/>
              <a:t>D-point</a:t>
            </a:r>
          </a:p>
          <a:p>
            <a:pPr lvl="4"/>
            <a:r>
              <a:rPr lang="pt-BR" smtClean="0"/>
              <a:t>E-point</a:t>
            </a:r>
            <a:endParaRPr lang="pt-BR" dirty="0" smtClean="0"/>
          </a:p>
        </p:txBody>
      </p:sp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 bwMode="auto">
          <a:xfrm>
            <a:off x="-10886" y="842962"/>
            <a:ext cx="8629106" cy="0"/>
          </a:xfrm>
          <a:prstGeom prst="line">
            <a:avLst/>
          </a:prstGeom>
          <a:solidFill>
            <a:schemeClr val="bg1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16"/>
          <p:cNvSpPr/>
          <p:nvPr userDrawn="1">
            <p:custDataLst>
              <p:tags r:id="rId12"/>
            </p:custDataLst>
          </p:nvPr>
        </p:nvSpPr>
        <p:spPr bwMode="auto">
          <a:xfrm>
            <a:off x="8608741" y="0"/>
            <a:ext cx="535259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</a:schemeClr>
              </a:gs>
              <a:gs pos="35000">
                <a:schemeClr val="accent4">
                  <a:lumMod val="50000"/>
                  <a:alpha val="78000"/>
                </a:schemeClr>
              </a:gs>
              <a:gs pos="78000">
                <a:schemeClr val="bg1"/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pt-BR" sz="1200" kern="1200" dirty="0" smtClean="0"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>
            <p:custDataLst>
              <p:tags r:id="rId13"/>
            </p:custDataLst>
          </p:nvPr>
        </p:nvSpPr>
        <p:spPr>
          <a:xfrm>
            <a:off x="8844984" y="6640479"/>
            <a:ext cx="15709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A6FDE3A2-6B5A-42F8-B092-45BC1F34562B}" type="slidenum">
              <a:rPr lang="pt-BR" sz="1000" b="1" kern="1200">
                <a:solidFill>
                  <a:srgbClr val="FFFFFF"/>
                </a:solidFill>
                <a:ea typeface="+mn-ea"/>
                <a:cs typeface="Arial" pitchFamily="34" charset="0"/>
              </a:rPr>
              <a:pPr algn="ctr"/>
              <a:t>‹nº›</a:t>
            </a:fld>
            <a:endParaRPr lang="pt-BR" sz="1000" b="1" kern="12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pic>
        <p:nvPicPr>
          <p:cNvPr id="12" name="Picture 1028" descr="LogoAbiv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6">
            <a:clrChange>
              <a:clrFrom>
                <a:srgbClr val="F6FFFF"/>
              </a:clrFrom>
              <a:clrTo>
                <a:srgbClr val="F6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200000">
            <a:off x="7701697" y="5280374"/>
            <a:ext cx="23399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 userDrawn="1"/>
        </p:nvSpPr>
        <p:spPr>
          <a:xfrm>
            <a:off x="8770938" y="6590268"/>
            <a:ext cx="263855" cy="2616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fld id="{3558F7FE-AE6A-40B7-B8AB-EC5507741A14}" type="slidenum">
              <a:rPr lang="en-US" sz="1100" kern="1200" smtClean="0">
                <a:ea typeface="+mn-ea"/>
                <a:cs typeface="+mn-cs"/>
              </a:rPr>
              <a:pPr/>
              <a:t>‹nº›</a:t>
            </a:fld>
            <a:endParaRPr lang="en-US" sz="1100" kern="1200" dirty="0" smtClean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611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70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5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algn="l" defTabSz="684213" rtl="0" eaLnBrk="1" fontAlgn="base" hangingPunct="1">
        <a:spcBef>
          <a:spcPct val="20000"/>
        </a:spcBef>
        <a:spcAft>
          <a:spcPct val="0"/>
        </a:spcAft>
        <a:buSzPct val="25000"/>
        <a:buFont typeface="Arial" pitchFamily="34" charset="0"/>
        <a:buChar char="‏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42900" indent="-228600" algn="l" defTabSz="684213" rtl="0" eaLnBrk="1" fontAlgn="base" hangingPunct="1">
        <a:spcBef>
          <a:spcPct val="20000"/>
        </a:spcBef>
        <a:spcAft>
          <a:spcPct val="0"/>
        </a:spcAft>
        <a:buSzPct val="65000"/>
        <a:buFont typeface="Wingdings" pitchFamily="2" charset="2"/>
        <a:buChar char="l"/>
        <a:defRPr>
          <a:solidFill>
            <a:schemeClr val="tx1"/>
          </a:solidFill>
          <a:latin typeface="+mn-lt"/>
          <a:cs typeface="Arial" pitchFamily="34" charset="0"/>
        </a:defRPr>
      </a:lvl2pPr>
      <a:lvl3pPr marL="6858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>
          <a:solidFill>
            <a:schemeClr val="tx1"/>
          </a:solidFill>
          <a:latin typeface="+mn-lt"/>
          <a:cs typeface="Arial" pitchFamily="34" charset="0"/>
        </a:defRPr>
      </a:lvl3pPr>
      <a:lvl4pPr marL="1028700" indent="-228600" algn="l" defTabSz="684213" rtl="0" eaLnBrk="1" fontAlgn="base" hangingPunct="1">
        <a:spcBef>
          <a:spcPct val="20000"/>
        </a:spcBef>
        <a:spcAft>
          <a:spcPct val="0"/>
        </a:spcAft>
        <a:buSzPct val="55000"/>
        <a:buFont typeface="Wingdings" pitchFamily="2" charset="2"/>
        <a:buChar char="¡"/>
        <a:defRPr sz="1600">
          <a:solidFill>
            <a:schemeClr val="tx1"/>
          </a:solidFill>
          <a:latin typeface="+mn-lt"/>
          <a:cs typeface="Arial" pitchFamily="34" charset="0"/>
        </a:defRPr>
      </a:lvl4pPr>
      <a:lvl5pPr marL="13716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  <a:cs typeface="Arial" pitchFamily="34" charset="0"/>
        </a:defRPr>
      </a:lvl5pPr>
      <a:lvl6pPr marL="18288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6pPr>
      <a:lvl7pPr marL="22860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7pPr>
      <a:lvl8pPr marL="27432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8pPr>
      <a:lvl9pPr marL="32004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/>
          <p:cNvCxnSpPr/>
          <p:nvPr userDrawn="1">
            <p:custDataLst>
              <p:tags r:id="rId11"/>
            </p:custDataLst>
          </p:nvPr>
        </p:nvCxnSpPr>
        <p:spPr bwMode="auto">
          <a:xfrm>
            <a:off x="-11113" y="842963"/>
            <a:ext cx="8629651" cy="0"/>
          </a:xfrm>
          <a:prstGeom prst="line">
            <a:avLst/>
          </a:prstGeom>
          <a:solidFill>
            <a:schemeClr val="bg1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16"/>
          <p:cNvSpPr/>
          <p:nvPr userDrawn="1">
            <p:custDataLst>
              <p:tags r:id="rId12"/>
            </p:custDataLst>
          </p:nvPr>
        </p:nvSpPr>
        <p:spPr bwMode="auto">
          <a:xfrm>
            <a:off x="8609013" y="0"/>
            <a:ext cx="534987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</a:schemeClr>
              </a:gs>
              <a:gs pos="35000">
                <a:schemeClr val="accent4">
                  <a:lumMod val="50000"/>
                  <a:alpha val="78000"/>
                </a:schemeClr>
              </a:gs>
              <a:gs pos="78000">
                <a:schemeClr val="bg1"/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pt-BR" sz="1200" kern="1200" dirty="0">
              <a:ea typeface="ヒラギノ角ゴ Pro W3" charset="-128"/>
              <a:cs typeface="+mn-cs"/>
            </a:endParaRPr>
          </a:p>
        </p:txBody>
      </p:sp>
      <p:sp>
        <p:nvSpPr>
          <p:cNvPr id="8" name="TextBox 7"/>
          <p:cNvSpPr txBox="1"/>
          <p:nvPr>
            <p:custDataLst>
              <p:tags r:id="rId13"/>
            </p:custDataLst>
          </p:nvPr>
        </p:nvSpPr>
        <p:spPr>
          <a:xfrm>
            <a:off x="8845550" y="6640513"/>
            <a:ext cx="157163" cy="1539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677BBC2E-9E9D-429C-B073-48EAEE9A4B90}" type="slidenum">
              <a:rPr lang="pt-BR" sz="1000" b="1" kern="1200">
                <a:solidFill>
                  <a:srgbClr val="FFFFFF"/>
                </a:solidFill>
                <a:ea typeface="ヒラギノ角ゴ Pro W3" charset="-128"/>
                <a:cs typeface="Arial" pitchFamily="34" charset="0"/>
              </a:rPr>
              <a:pPr algn="ctr">
                <a:defRPr/>
              </a:pPr>
              <a:t>‹nº›</a:t>
            </a:fld>
            <a:endParaRPr lang="pt-BR" sz="1000" b="1" kern="1200" dirty="0">
              <a:solidFill>
                <a:srgbClr val="FFFFFF"/>
              </a:solidFill>
              <a:ea typeface="ヒラギノ角ゴ Pro W3" charset="-128"/>
              <a:cs typeface="Arial" pitchFamily="34" charset="0"/>
            </a:endParaRPr>
          </a:p>
        </p:txBody>
      </p:sp>
      <p:pic>
        <p:nvPicPr>
          <p:cNvPr id="1033" name="Picture 1028" descr="LogoAbiv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6" cstate="print">
            <a:clrChange>
              <a:clrFrom>
                <a:srgbClr val="F7FFFF"/>
              </a:clrFrom>
              <a:clrTo>
                <a:srgbClr val="F7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91563" y="4354513"/>
            <a:ext cx="360362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44630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684213" rtl="0" eaLnBrk="0" fontAlgn="base" hangingPunct="0">
        <a:spcBef>
          <a:spcPct val="20000"/>
        </a:spcBef>
        <a:spcAft>
          <a:spcPct val="0"/>
        </a:spcAft>
        <a:buSzPct val="25000"/>
        <a:buFont typeface="Arial" charset="0"/>
        <a:buChar char="‏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42900" indent="-228600" algn="l" defTabSz="684213" rtl="0" eaLnBrk="0" fontAlgn="base" hangingPunct="0">
        <a:spcBef>
          <a:spcPct val="20000"/>
        </a:spcBef>
        <a:spcAft>
          <a:spcPct val="0"/>
        </a:spcAft>
        <a:buSzPct val="65000"/>
        <a:buFont typeface="Wingdings" pitchFamily="2" charset="2"/>
        <a:buChar char="l"/>
        <a:defRPr>
          <a:solidFill>
            <a:schemeClr val="tx1"/>
          </a:solidFill>
          <a:latin typeface="+mn-lt"/>
          <a:cs typeface="Arial" pitchFamily="34" charset="0"/>
        </a:defRPr>
      </a:lvl2pPr>
      <a:lvl3pPr marL="685800" indent="-228600" algn="l" defTabSz="684213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>
          <a:solidFill>
            <a:schemeClr val="tx1"/>
          </a:solidFill>
          <a:latin typeface="+mn-lt"/>
          <a:cs typeface="Arial" pitchFamily="34" charset="0"/>
        </a:defRPr>
      </a:lvl3pPr>
      <a:lvl4pPr marL="1028700" indent="-228600" algn="l" defTabSz="684213" rtl="0" eaLnBrk="0" fontAlgn="base" hangingPunct="0">
        <a:spcBef>
          <a:spcPct val="20000"/>
        </a:spcBef>
        <a:spcAft>
          <a:spcPct val="0"/>
        </a:spcAft>
        <a:buSzPct val="55000"/>
        <a:buFont typeface="Wingdings" pitchFamily="2" charset="2"/>
        <a:buChar char="¡"/>
        <a:defRPr sz="1600">
          <a:solidFill>
            <a:schemeClr val="tx1"/>
          </a:solidFill>
          <a:latin typeface="+mn-lt"/>
          <a:cs typeface="Arial" pitchFamily="34" charset="0"/>
        </a:defRPr>
      </a:lvl4pPr>
      <a:lvl5pPr marL="1371600" indent="-228600" algn="l" defTabSz="684213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  <a:cs typeface="Arial" pitchFamily="34" charset="0"/>
        </a:defRPr>
      </a:lvl5pPr>
      <a:lvl6pPr marL="18288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6pPr>
      <a:lvl7pPr marL="22860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7pPr>
      <a:lvl8pPr marL="27432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8pPr>
      <a:lvl9pPr marL="32004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1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/>
          <p:cNvCxnSpPr/>
          <p:nvPr userDrawn="1">
            <p:custDataLst>
              <p:tags r:id="rId11"/>
            </p:custDataLst>
          </p:nvPr>
        </p:nvCxnSpPr>
        <p:spPr bwMode="auto">
          <a:xfrm>
            <a:off x="-11113" y="842963"/>
            <a:ext cx="8629651" cy="0"/>
          </a:xfrm>
          <a:prstGeom prst="line">
            <a:avLst/>
          </a:prstGeom>
          <a:solidFill>
            <a:schemeClr val="bg1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16"/>
          <p:cNvSpPr/>
          <p:nvPr userDrawn="1">
            <p:custDataLst>
              <p:tags r:id="rId12"/>
            </p:custDataLst>
          </p:nvPr>
        </p:nvSpPr>
        <p:spPr bwMode="auto">
          <a:xfrm>
            <a:off x="8609013" y="0"/>
            <a:ext cx="534987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</a:schemeClr>
              </a:gs>
              <a:gs pos="35000">
                <a:schemeClr val="accent4">
                  <a:lumMod val="50000"/>
                  <a:alpha val="78000"/>
                </a:schemeClr>
              </a:gs>
              <a:gs pos="78000">
                <a:schemeClr val="bg1"/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pt-BR" sz="1200" kern="1200" dirty="0">
              <a:ea typeface="ヒラギノ角ゴ Pro W3" charset="-128"/>
              <a:cs typeface="+mn-cs"/>
            </a:endParaRPr>
          </a:p>
        </p:txBody>
      </p:sp>
      <p:sp>
        <p:nvSpPr>
          <p:cNvPr id="8" name="TextBox 7"/>
          <p:cNvSpPr txBox="1"/>
          <p:nvPr>
            <p:custDataLst>
              <p:tags r:id="rId13"/>
            </p:custDataLst>
          </p:nvPr>
        </p:nvSpPr>
        <p:spPr>
          <a:xfrm>
            <a:off x="8845550" y="6640513"/>
            <a:ext cx="157163" cy="1539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677BBC2E-9E9D-429C-B073-48EAEE9A4B90}" type="slidenum">
              <a:rPr lang="pt-BR" sz="1000" b="1" kern="1200">
                <a:solidFill>
                  <a:srgbClr val="FFFFFF"/>
                </a:solidFill>
                <a:ea typeface="ヒラギノ角ゴ Pro W3" charset="-128"/>
                <a:cs typeface="Arial" pitchFamily="34" charset="0"/>
              </a:rPr>
              <a:pPr algn="ctr">
                <a:defRPr/>
              </a:pPr>
              <a:t>‹nº›</a:t>
            </a:fld>
            <a:endParaRPr lang="pt-BR" sz="1000" b="1" kern="1200" dirty="0">
              <a:solidFill>
                <a:srgbClr val="FFFFFF"/>
              </a:solidFill>
              <a:ea typeface="ヒラギノ角ゴ Pro W3" charset="-128"/>
              <a:cs typeface="Arial" pitchFamily="34" charset="0"/>
            </a:endParaRPr>
          </a:p>
        </p:txBody>
      </p:sp>
      <p:pic>
        <p:nvPicPr>
          <p:cNvPr id="1033" name="Picture 1028" descr="LogoAbiv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6" cstate="print">
            <a:clrChange>
              <a:clrFrom>
                <a:srgbClr val="F7FFFF"/>
              </a:clrFrom>
              <a:clrTo>
                <a:srgbClr val="F7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91563" y="4354513"/>
            <a:ext cx="360362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5417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684213" rtl="0" eaLnBrk="0" fontAlgn="base" hangingPunct="0">
        <a:spcBef>
          <a:spcPct val="20000"/>
        </a:spcBef>
        <a:spcAft>
          <a:spcPct val="0"/>
        </a:spcAft>
        <a:buSzPct val="25000"/>
        <a:buFont typeface="Arial" charset="0"/>
        <a:buChar char="‏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42900" indent="-228600" algn="l" defTabSz="684213" rtl="0" eaLnBrk="0" fontAlgn="base" hangingPunct="0">
        <a:spcBef>
          <a:spcPct val="20000"/>
        </a:spcBef>
        <a:spcAft>
          <a:spcPct val="0"/>
        </a:spcAft>
        <a:buSzPct val="65000"/>
        <a:buFont typeface="Wingdings" pitchFamily="2" charset="2"/>
        <a:buChar char="l"/>
        <a:defRPr>
          <a:solidFill>
            <a:schemeClr val="tx1"/>
          </a:solidFill>
          <a:latin typeface="+mn-lt"/>
          <a:cs typeface="Arial" pitchFamily="34" charset="0"/>
        </a:defRPr>
      </a:lvl2pPr>
      <a:lvl3pPr marL="685800" indent="-228600" algn="l" defTabSz="684213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>
          <a:solidFill>
            <a:schemeClr val="tx1"/>
          </a:solidFill>
          <a:latin typeface="+mn-lt"/>
          <a:cs typeface="Arial" pitchFamily="34" charset="0"/>
        </a:defRPr>
      </a:lvl3pPr>
      <a:lvl4pPr marL="1028700" indent="-228600" algn="l" defTabSz="684213" rtl="0" eaLnBrk="0" fontAlgn="base" hangingPunct="0">
        <a:spcBef>
          <a:spcPct val="20000"/>
        </a:spcBef>
        <a:spcAft>
          <a:spcPct val="0"/>
        </a:spcAft>
        <a:buSzPct val="55000"/>
        <a:buFont typeface="Wingdings" pitchFamily="2" charset="2"/>
        <a:buChar char="¡"/>
        <a:defRPr sz="1600">
          <a:solidFill>
            <a:schemeClr val="tx1"/>
          </a:solidFill>
          <a:latin typeface="+mn-lt"/>
          <a:cs typeface="Arial" pitchFamily="34" charset="0"/>
        </a:defRPr>
      </a:lvl4pPr>
      <a:lvl5pPr marL="1371600" indent="-228600" algn="l" defTabSz="684213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  <a:cs typeface="Arial" pitchFamily="34" charset="0"/>
        </a:defRPr>
      </a:lvl5pPr>
      <a:lvl6pPr marL="18288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6pPr>
      <a:lvl7pPr marL="22860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7pPr>
      <a:lvl8pPr marL="27432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8pPr>
      <a:lvl9pPr marL="32004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6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 bwMode="auto">
          <a:xfrm>
            <a:off x="-11113" y="842963"/>
            <a:ext cx="8629651" cy="0"/>
          </a:xfrm>
          <a:prstGeom prst="line">
            <a:avLst/>
          </a:prstGeom>
          <a:solidFill>
            <a:schemeClr val="bg1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16"/>
          <p:cNvSpPr/>
          <p:nvPr>
            <p:custDataLst>
              <p:tags r:id="rId12"/>
            </p:custDataLst>
          </p:nvPr>
        </p:nvSpPr>
        <p:spPr bwMode="auto">
          <a:xfrm>
            <a:off x="8609013" y="0"/>
            <a:ext cx="534987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</a:schemeClr>
              </a:gs>
              <a:gs pos="35000">
                <a:schemeClr val="accent4">
                  <a:lumMod val="50000"/>
                  <a:alpha val="78000"/>
                </a:schemeClr>
              </a:gs>
              <a:gs pos="78000">
                <a:schemeClr val="bg1"/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pt-BR" sz="1200" kern="1200" dirty="0">
              <a:ea typeface="ヒラギノ角ゴ Pro W3" charset="-128"/>
              <a:cs typeface="+mn-cs"/>
            </a:endParaRPr>
          </a:p>
        </p:txBody>
      </p:sp>
      <p:sp>
        <p:nvSpPr>
          <p:cNvPr id="8" name="TextBox 7"/>
          <p:cNvSpPr txBox="1"/>
          <p:nvPr>
            <p:custDataLst>
              <p:tags r:id="rId13"/>
            </p:custDataLst>
          </p:nvPr>
        </p:nvSpPr>
        <p:spPr>
          <a:xfrm>
            <a:off x="8845550" y="6640513"/>
            <a:ext cx="157163" cy="1539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677BBC2E-9E9D-429C-B073-48EAEE9A4B90}" type="slidenum">
              <a:rPr lang="pt-BR" sz="1000" b="1" kern="1200">
                <a:solidFill>
                  <a:srgbClr val="FFFFFF"/>
                </a:solidFill>
                <a:ea typeface="ヒラギノ角ゴ Pro W3" charset="-128"/>
                <a:cs typeface="Arial" pitchFamily="34" charset="0"/>
              </a:rPr>
              <a:pPr algn="ctr">
                <a:defRPr/>
              </a:pPr>
              <a:t>‹nº›</a:t>
            </a:fld>
            <a:endParaRPr lang="pt-BR" sz="1000" b="1" kern="1200" dirty="0">
              <a:solidFill>
                <a:srgbClr val="FFFFFF"/>
              </a:solidFill>
              <a:ea typeface="ヒラギノ角ゴ Pro W3" charset="-128"/>
              <a:cs typeface="Arial" pitchFamily="34" charset="0"/>
            </a:endParaRPr>
          </a:p>
        </p:txBody>
      </p:sp>
      <p:pic>
        <p:nvPicPr>
          <p:cNvPr id="1033" name="Picture 1028" descr="LogoAbiv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6" cstate="print">
            <a:clrChange>
              <a:clrFrom>
                <a:srgbClr val="F7FFFF"/>
              </a:clrFrom>
              <a:clrTo>
                <a:srgbClr val="F7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91563" y="4354513"/>
            <a:ext cx="360362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92740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Georgia" pitchFamily="18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684213" rtl="0" eaLnBrk="0" fontAlgn="base" hangingPunct="0">
        <a:spcBef>
          <a:spcPct val="20000"/>
        </a:spcBef>
        <a:spcAft>
          <a:spcPct val="0"/>
        </a:spcAft>
        <a:buSzPct val="25000"/>
        <a:buFont typeface="Arial" charset="0"/>
        <a:buChar char="‏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42900" indent="-228600" algn="l" defTabSz="684213" rtl="0" eaLnBrk="0" fontAlgn="base" hangingPunct="0">
        <a:spcBef>
          <a:spcPct val="20000"/>
        </a:spcBef>
        <a:spcAft>
          <a:spcPct val="0"/>
        </a:spcAft>
        <a:buSzPct val="65000"/>
        <a:buFont typeface="Wingdings" pitchFamily="2" charset="2"/>
        <a:buChar char="l"/>
        <a:defRPr>
          <a:solidFill>
            <a:schemeClr val="tx1"/>
          </a:solidFill>
          <a:latin typeface="+mn-lt"/>
          <a:cs typeface="Arial" pitchFamily="34" charset="0"/>
        </a:defRPr>
      </a:lvl2pPr>
      <a:lvl3pPr marL="685800" indent="-228600" algn="l" defTabSz="684213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>
          <a:solidFill>
            <a:schemeClr val="tx1"/>
          </a:solidFill>
          <a:latin typeface="+mn-lt"/>
          <a:cs typeface="Arial" pitchFamily="34" charset="0"/>
        </a:defRPr>
      </a:lvl3pPr>
      <a:lvl4pPr marL="1028700" indent="-228600" algn="l" defTabSz="684213" rtl="0" eaLnBrk="0" fontAlgn="base" hangingPunct="0">
        <a:spcBef>
          <a:spcPct val="20000"/>
        </a:spcBef>
        <a:spcAft>
          <a:spcPct val="0"/>
        </a:spcAft>
        <a:buSzPct val="55000"/>
        <a:buFont typeface="Wingdings" pitchFamily="2" charset="2"/>
        <a:buChar char="¡"/>
        <a:defRPr sz="1600">
          <a:solidFill>
            <a:schemeClr val="tx1"/>
          </a:solidFill>
          <a:latin typeface="+mn-lt"/>
          <a:cs typeface="Arial" pitchFamily="34" charset="0"/>
        </a:defRPr>
      </a:lvl4pPr>
      <a:lvl5pPr marL="1371600" indent="-228600" algn="l" defTabSz="684213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  <a:cs typeface="Arial" pitchFamily="34" charset="0"/>
        </a:defRPr>
      </a:lvl5pPr>
      <a:lvl6pPr marL="18288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6pPr>
      <a:lvl7pPr marL="22860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7pPr>
      <a:lvl8pPr marL="27432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8pPr>
      <a:lvl9pPr marL="32004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package" Target="../embeddings/Microsoft_Excel_Worksheet1.xlsx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5693582" y="5733256"/>
            <a:ext cx="26228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 pitchFamily="34" charset="0"/>
                <a:ea typeface="Trebuchet MS"/>
                <a:cs typeface="Trebuchet MS"/>
                <a:sym typeface="Trebuchet MS"/>
              </a:rPr>
              <a:t>22  NOVEMBRO 2016  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323528" y="1954575"/>
            <a:ext cx="8208912" cy="255454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 defTabSz="684213" fontAlgn="base">
              <a:buClr>
                <a:srgbClr val="931B1F"/>
              </a:buClr>
              <a:buSzPct val="25000"/>
            </a:pPr>
            <a:r>
              <a:rPr lang="pt-BR" sz="3200" b="1" spc="600" dirty="0" smtClean="0">
                <a:solidFill>
                  <a:srgbClr val="7BC142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rebuchet MS"/>
                <a:cs typeface="Trebuchet MS"/>
                <a:sym typeface="Trebuchet MS"/>
              </a:rPr>
              <a:t>A DEFESA COMERCIAL BRASILEIRA SOB A ÓTICA DA NOVA COMPOSIÇÃO DA CÂMARA DE COMÉRCIO EXTERIOR</a:t>
            </a:r>
          </a:p>
          <a:p>
            <a:pPr algn="ctr" defTabSz="684213" fontAlgn="base">
              <a:buClr>
                <a:srgbClr val="931B1F"/>
              </a:buClr>
              <a:buSzPct val="25000"/>
            </a:pPr>
            <a:r>
              <a:rPr lang="pt-BR" sz="3200" b="1" spc="600" dirty="0" smtClean="0">
                <a:solidFill>
                  <a:srgbClr val="7BC142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rebuchet MS"/>
                <a:cs typeface="Trebuchet MS"/>
                <a:sym typeface="Trebuchet MS"/>
              </a:rPr>
              <a:t> </a:t>
            </a:r>
            <a:r>
              <a:rPr lang="pt-BR" sz="3200" b="1" spc="600" dirty="0">
                <a:solidFill>
                  <a:srgbClr val="7BC142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rebuchet MS"/>
                <a:cs typeface="Trebuchet MS"/>
                <a:sym typeface="Trebuchet MS"/>
              </a:rPr>
              <a:t>(CAMEX</a:t>
            </a:r>
            <a:r>
              <a:rPr lang="pt-BR" sz="3200" b="1" spc="600" dirty="0" smtClean="0">
                <a:solidFill>
                  <a:srgbClr val="7BC142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rebuchet MS"/>
                <a:cs typeface="Trebuchet MS"/>
                <a:sym typeface="Trebuchet MS"/>
              </a:rPr>
              <a:t>)</a:t>
            </a:r>
            <a:endParaRPr lang="pt-BR" sz="3200" b="1" spc="600" dirty="0">
              <a:solidFill>
                <a:srgbClr val="7BC142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467544" y="5741093"/>
            <a:ext cx="47525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i="1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Calibri" pitchFamily="34" charset="0"/>
                <a:ea typeface="Trebuchet MS"/>
                <a:cs typeface="Trebuchet MS"/>
                <a:sym typeface="Trebuchet MS"/>
              </a:rPr>
              <a:t>COMISSÃO DE DESENVOLVIMENTO ECONÔMICO, INDÚSTRIA, COMÉRCIO E SERVIÇOS </a:t>
            </a:r>
          </a:p>
        </p:txBody>
      </p:sp>
      <p:sp>
        <p:nvSpPr>
          <p:cNvPr id="7" name="Retângulo de cantos arredondados 6"/>
          <p:cNvSpPr/>
          <p:nvPr/>
        </p:nvSpPr>
        <p:spPr bwMode="auto">
          <a:xfrm>
            <a:off x="251520" y="116632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200" b="1" kern="1200" dirty="0" smtClean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A U D I Ê N C I A    PÚ B L I C A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54108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Shape 504"/>
          <p:cNvSpPr txBox="1">
            <a:spLocks noGrp="1"/>
          </p:cNvSpPr>
          <p:nvPr>
            <p:ph type="title"/>
          </p:nvPr>
        </p:nvSpPr>
        <p:spPr>
          <a:xfrm>
            <a:off x="179512" y="-27384"/>
            <a:ext cx="8352928" cy="73116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accent1"/>
              </a:buClr>
              <a:buSzPct val="25000"/>
              <a:buFont typeface="Calibri"/>
              <a:buNone/>
            </a:pPr>
            <a:r>
              <a:rPr lang="pt-BR" sz="2800" b="1" dirty="0" smtClean="0">
                <a:solidFill>
                  <a:schemeClr val="accent4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pt-BR" sz="2800" b="1" dirty="0" smtClean="0">
                <a:solidFill>
                  <a:schemeClr val="accent4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endParaRPr lang="pt-BR" sz="2800" b="1" i="0" u="none" strike="noStrike" cap="none" baseline="0" dirty="0">
              <a:solidFill>
                <a:schemeClr val="accent4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83568" y="1419512"/>
            <a:ext cx="946734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Produz :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1719362" y="1412776"/>
            <a:ext cx="1347485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Embalagens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763688" y="1732746"/>
            <a:ext cx="2658741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rtigos de Mesa e Fogão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3214643" y="1409799"/>
            <a:ext cx="1501373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Vidros Plano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788024" y="1412776"/>
            <a:ext cx="2039982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Produtos Especiais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683568" y="2456882"/>
            <a:ext cx="2418291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Participa das Cadeias </a:t>
            </a:r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: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071505" y="2452842"/>
            <a:ext cx="1821974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Construção Civil 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6461742" y="2452826"/>
            <a:ext cx="1728999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utomobilística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4980794" y="2452839"/>
            <a:ext cx="1265731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limentícia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120200" y="2844804"/>
            <a:ext cx="913070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Bebidas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4266175" y="2844804"/>
            <a:ext cx="1429237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Linha Branca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4374317" y="3244914"/>
            <a:ext cx="2697213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Perfumaria e Cosméticos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3120200" y="3214461"/>
            <a:ext cx="1150315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Moveleira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6022851" y="2844804"/>
            <a:ext cx="1502976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Farmacêutica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683568" y="4077072"/>
            <a:ext cx="2437527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Capacidade Produtiva</a:t>
            </a:r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: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3636240" y="4077072"/>
            <a:ext cx="611706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2009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3636240" y="4581128"/>
            <a:ext cx="611706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2016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4531224" y="4077072"/>
            <a:ext cx="2213106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2.800.000 toneladas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4493695" y="4581128"/>
            <a:ext cx="2453076" cy="40011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4.050.000</a:t>
            </a:r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toneladas</a:t>
            </a:r>
          </a:p>
        </p:txBody>
      </p:sp>
      <p:sp>
        <p:nvSpPr>
          <p:cNvPr id="480" name="Seta em curva para a esquerda 479"/>
          <p:cNvSpPr/>
          <p:nvPr/>
        </p:nvSpPr>
        <p:spPr bwMode="auto">
          <a:xfrm>
            <a:off x="6740049" y="4173107"/>
            <a:ext cx="494349" cy="808131"/>
          </a:xfrm>
          <a:prstGeom prst="curvedLef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81" name="CaixaDeTexto 480"/>
          <p:cNvSpPr txBox="1"/>
          <p:nvPr/>
        </p:nvSpPr>
        <p:spPr>
          <a:xfrm>
            <a:off x="7433985" y="4365104"/>
            <a:ext cx="592906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45720" rIns="45720" rtlCol="0">
            <a:spAutoFit/>
          </a:bodyPr>
          <a:lstStyle/>
          <a:p>
            <a:r>
              <a:rPr lang="pt-BR" sz="1800" dirty="0" smtClean="0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</a:rPr>
              <a:t> 45%</a:t>
            </a:r>
          </a:p>
        </p:txBody>
      </p:sp>
      <p:sp>
        <p:nvSpPr>
          <p:cNvPr id="36" name="CaixaDeTexto 35"/>
          <p:cNvSpPr txBox="1"/>
          <p:nvPr/>
        </p:nvSpPr>
        <p:spPr>
          <a:xfrm>
            <a:off x="755576" y="5405154"/>
            <a:ext cx="2863926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Empregos Diretos  (2015) </a:t>
            </a:r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:</a:t>
            </a:r>
          </a:p>
        </p:txBody>
      </p:sp>
      <p:sp>
        <p:nvSpPr>
          <p:cNvPr id="37" name="CaixaDeTexto 36"/>
          <p:cNvSpPr txBox="1"/>
          <p:nvPr/>
        </p:nvSpPr>
        <p:spPr>
          <a:xfrm>
            <a:off x="3828810" y="5405154"/>
            <a:ext cx="805670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14.000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755576" y="5757609"/>
            <a:ext cx="5267275" cy="40011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Empregos na Indústria de Transformação (2015) </a:t>
            </a:r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:</a:t>
            </a:r>
          </a:p>
        </p:txBody>
      </p:sp>
      <p:sp>
        <p:nvSpPr>
          <p:cNvPr id="39" name="CaixaDeTexto 38"/>
          <p:cNvSpPr txBox="1"/>
          <p:nvPr/>
        </p:nvSpPr>
        <p:spPr>
          <a:xfrm>
            <a:off x="6058907" y="5765194"/>
            <a:ext cx="805670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30.000</a:t>
            </a:r>
          </a:p>
        </p:txBody>
      </p:sp>
      <p:sp>
        <p:nvSpPr>
          <p:cNvPr id="482" name="CaixaDeTexto 481"/>
          <p:cNvSpPr txBox="1"/>
          <p:nvPr/>
        </p:nvSpPr>
        <p:spPr>
          <a:xfrm>
            <a:off x="6374344" y="6444209"/>
            <a:ext cx="1870064" cy="2616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1100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Dados ABIVIDRO e ABRAVIDRO</a:t>
            </a:r>
          </a:p>
        </p:txBody>
      </p:sp>
      <p:sp>
        <p:nvSpPr>
          <p:cNvPr id="30" name="Retângulo de cantos arredondados 29"/>
          <p:cNvSpPr/>
          <p:nvPr/>
        </p:nvSpPr>
        <p:spPr bwMode="auto">
          <a:xfrm>
            <a:off x="179512" y="116632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200" b="1" kern="1200" dirty="0" smtClean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A   I N D Ú S T R I A   V I D R E I R A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1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1" y="1231187"/>
            <a:ext cx="7408320" cy="4574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3915083" y="6282647"/>
            <a:ext cx="454964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Valores:  </a:t>
            </a:r>
            <a:r>
              <a:rPr lang="pt-BR" sz="1600" b="1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US$ MILHÕES</a:t>
            </a:r>
          </a:p>
          <a:p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Fonte</a:t>
            </a:r>
            <a:r>
              <a:rPr lang="pt-BR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: MDIC. (*) Estimativas Ex Ante Consultoria </a:t>
            </a:r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Econômica</a:t>
            </a:r>
            <a:endParaRPr lang="pt-BR" i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Retângulo de cantos arredondados 5"/>
          <p:cNvSpPr/>
          <p:nvPr/>
        </p:nvSpPr>
        <p:spPr bwMode="auto">
          <a:xfrm>
            <a:off x="179512" y="116632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200" b="1" kern="1200" dirty="0" smtClean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COMÉRCIO EXTERIOR DO SETOR   2001 / 2016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88807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3915083" y="6282647"/>
            <a:ext cx="454964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Valores:  </a:t>
            </a:r>
            <a:r>
              <a:rPr lang="pt-BR" sz="1600" b="1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US$ MILHÕES</a:t>
            </a:r>
          </a:p>
          <a:p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Fonte</a:t>
            </a:r>
            <a:r>
              <a:rPr lang="pt-BR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: MDIC. (*) Estimativas Ex Ante Consultoria </a:t>
            </a:r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Econômica</a:t>
            </a:r>
            <a:endParaRPr lang="pt-BR" i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Retângulo de cantos arredondados 5"/>
          <p:cNvSpPr/>
          <p:nvPr/>
        </p:nvSpPr>
        <p:spPr bwMode="auto">
          <a:xfrm>
            <a:off x="179512" y="116632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200" b="1" kern="1200" dirty="0" smtClean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SALDO COMÉRCIAL DO SETOR   2001 / 2016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87171"/>
            <a:ext cx="7704856" cy="4757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10795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3915083" y="6282647"/>
            <a:ext cx="457529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Valores:  </a:t>
            </a:r>
            <a:r>
              <a:rPr lang="pt-BR" sz="1600" b="1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EM PERCENTUAIS (%)</a:t>
            </a:r>
          </a:p>
          <a:p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Fonte</a:t>
            </a:r>
            <a:r>
              <a:rPr lang="pt-BR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: </a:t>
            </a:r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IBGE. </a:t>
            </a:r>
            <a:r>
              <a:rPr lang="pt-BR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(*) Estimativas Ex Ante Consultoria </a:t>
            </a:r>
            <a:r>
              <a:rPr lang="pt-BR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Econômica</a:t>
            </a:r>
            <a:endParaRPr lang="pt-BR" i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Retângulo de cantos arredondados 5"/>
          <p:cNvSpPr/>
          <p:nvPr/>
        </p:nvSpPr>
        <p:spPr bwMode="auto">
          <a:xfrm>
            <a:off x="179512" y="116632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200" b="1" kern="1200" dirty="0" smtClean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EVOLUÇÃO DO RETORNO BRUTO 2000 / 2015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919"/>
          <a:stretch/>
        </p:blipFill>
        <p:spPr bwMode="auto">
          <a:xfrm>
            <a:off x="1225904" y="1124744"/>
            <a:ext cx="5650352" cy="4978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94660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9215008"/>
              </p:ext>
            </p:extLst>
          </p:nvPr>
        </p:nvGraphicFramePr>
        <p:xfrm>
          <a:off x="827584" y="922551"/>
          <a:ext cx="6696744" cy="58188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Planilha" r:id="rId4" imgW="6248321" imgH="5429174" progId="Excel.Sheet.12">
                  <p:embed/>
                </p:oleObj>
              </mc:Choice>
              <mc:Fallback>
                <p:oleObj name="Planilha" r:id="rId4" imgW="6248321" imgH="542917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27584" y="922551"/>
                        <a:ext cx="6696744" cy="58188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de cantos arredondados 3"/>
          <p:cNvSpPr/>
          <p:nvPr/>
        </p:nvSpPr>
        <p:spPr bwMode="auto">
          <a:xfrm>
            <a:off x="152332" y="116632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200" b="1" kern="1200" dirty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INVESTIMENTOS DA INDÚSTRIA VIDREIRA</a:t>
            </a:r>
          </a:p>
        </p:txBody>
      </p:sp>
    </p:spTree>
    <p:extLst>
      <p:ext uri="{BB962C8B-B14F-4D97-AF65-F5344CB8AC3E}">
        <p14:creationId xmlns:p14="http://schemas.microsoft.com/office/powerpoint/2010/main" val="4950333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de cantos arredondados 11"/>
          <p:cNvSpPr/>
          <p:nvPr/>
        </p:nvSpPr>
        <p:spPr bwMode="auto">
          <a:xfrm>
            <a:off x="176605" y="79783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000" b="1" kern="1200" dirty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EXPERIÊNCIA DO SETOR COM DEFESA COMERCIAL</a:t>
            </a:r>
          </a:p>
        </p:txBody>
      </p:sp>
      <p:sp>
        <p:nvSpPr>
          <p:cNvPr id="13" name="Retângulo de cantos arredondados 12"/>
          <p:cNvSpPr/>
          <p:nvPr/>
        </p:nvSpPr>
        <p:spPr bwMode="auto">
          <a:xfrm>
            <a:off x="179512" y="1052736"/>
            <a:ext cx="8208912" cy="795672"/>
          </a:xfrm>
          <a:prstGeom prst="roundRect">
            <a:avLst/>
          </a:prstGeom>
          <a:noFill/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96170010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GARRAFAS  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TÉRMICAS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1600" b="1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Resolução </a:t>
            </a:r>
            <a:r>
              <a:rPr lang="pt-BR" sz="16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CAMEX n° 46/2014 – DOU de 12/07/2011</a:t>
            </a: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tângulo de cantos arredondados 14"/>
          <p:cNvSpPr/>
          <p:nvPr/>
        </p:nvSpPr>
        <p:spPr bwMode="auto">
          <a:xfrm>
            <a:off x="179512" y="1916832"/>
            <a:ext cx="8208912" cy="795672"/>
          </a:xfrm>
          <a:prstGeom prst="roundRect">
            <a:avLst/>
          </a:prstGeom>
          <a:noFill/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70134900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OBJETOS DE VIDRO PARA MESA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1600" b="1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Resolução </a:t>
            </a:r>
            <a:r>
              <a:rPr lang="pt-BR" sz="16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CAMEX n° </a:t>
            </a:r>
            <a:r>
              <a:rPr lang="pt-BR" sz="1600" b="1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08/2011 </a:t>
            </a:r>
            <a:r>
              <a:rPr lang="pt-BR" sz="16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DOU de </a:t>
            </a:r>
            <a:r>
              <a:rPr lang="pt-BR" sz="1600" b="1" i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01/03/2011</a:t>
            </a:r>
            <a:endParaRPr lang="pt-BR" sz="1600" b="1" i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 bwMode="auto">
          <a:xfrm>
            <a:off x="179512" y="2780928"/>
            <a:ext cx="8208912" cy="795672"/>
          </a:xfrm>
          <a:prstGeom prst="roundRect">
            <a:avLst/>
          </a:prstGeom>
          <a:noFill/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70071900 – VIDROS  PARA  ELETRODOMÉSTICOS   DA  LINHA  FRIA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16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Resolução CAMEX n° 46/2014 – DOU de 04/07/2014</a:t>
            </a: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 bwMode="auto">
          <a:xfrm>
            <a:off x="179512" y="3645024"/>
            <a:ext cx="8208912" cy="795672"/>
          </a:xfrm>
          <a:prstGeom prst="roundRect">
            <a:avLst/>
          </a:prstGeom>
          <a:noFill/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70052900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VIDRO  FLOAT INCOLOR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16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Resolução CAMEX n° </a:t>
            </a:r>
            <a:r>
              <a:rPr lang="pt-BR" sz="16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121/2014 </a:t>
            </a:r>
            <a:r>
              <a:rPr lang="pt-BR" sz="16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DOU de </a:t>
            </a:r>
            <a:r>
              <a:rPr lang="pt-BR" sz="16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19/12/2014</a:t>
            </a:r>
            <a:endParaRPr lang="pt-BR" sz="16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 bwMode="auto">
          <a:xfrm>
            <a:off x="179512" y="4509120"/>
            <a:ext cx="8208912" cy="795672"/>
          </a:xfrm>
          <a:prstGeom prst="roundRect">
            <a:avLst/>
          </a:prstGeom>
          <a:noFill/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70099100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ESPELHO NÃO EMOLDURADO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16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Resolução CAMEX n° </a:t>
            </a:r>
            <a:r>
              <a:rPr lang="pt-BR" sz="16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10/2016 </a:t>
            </a:r>
            <a:r>
              <a:rPr lang="pt-BR" sz="16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DOU de </a:t>
            </a:r>
            <a:r>
              <a:rPr lang="pt-BR" sz="16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19/02/2016</a:t>
            </a:r>
            <a:endParaRPr lang="pt-BR" sz="16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0" name="Retângulo de cantos arredondados 19"/>
          <p:cNvSpPr/>
          <p:nvPr/>
        </p:nvSpPr>
        <p:spPr bwMode="auto">
          <a:xfrm>
            <a:off x="179512" y="5376800"/>
            <a:ext cx="8208912" cy="1152128"/>
          </a:xfrm>
          <a:prstGeom prst="roundRect">
            <a:avLst/>
          </a:prstGeom>
          <a:noFill/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fontAlgn="ctr"/>
            <a:r>
              <a:rPr lang="pt-BR" sz="2000" b="1" kern="12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70071100 </a:t>
            </a:r>
            <a:r>
              <a:rPr lang="pt-BR" sz="2000" b="1" kern="1200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/ 70071900 / 70072100 / 70072900 / 87082999  - VIDROS DE SEGURANÇA </a:t>
            </a:r>
            <a:r>
              <a:rPr lang="pt-BR" sz="2000" b="1" kern="1200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UTOMOTÍVOS</a:t>
            </a:r>
            <a:r>
              <a:rPr lang="pt-BR" sz="2000" b="1" kern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PARA  </a:t>
            </a:r>
            <a:r>
              <a:rPr lang="pt-BR" sz="2000" b="1" kern="1200" dirty="0">
                <a:solidFill>
                  <a:srgbClr val="FFFFFF"/>
                </a:solidFill>
                <a:latin typeface="Calibri" panose="020F0502020204030204" pitchFamily="34" charset="0"/>
              </a:rPr>
              <a:t>VEÍCULOS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16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Resolução </a:t>
            </a:r>
            <a:r>
              <a:rPr lang="pt-BR" sz="16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CAMEX n° </a:t>
            </a:r>
            <a:r>
              <a:rPr lang="pt-BR" sz="16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52/2016 </a:t>
            </a:r>
            <a:r>
              <a:rPr lang="pt-BR" sz="16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– DOU de </a:t>
            </a:r>
            <a:r>
              <a:rPr lang="pt-BR" sz="16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24/06/2016</a:t>
            </a:r>
            <a:endParaRPr lang="pt-BR" sz="16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9362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de cantos arredondados 3"/>
          <p:cNvSpPr/>
          <p:nvPr/>
        </p:nvSpPr>
        <p:spPr bwMode="auto">
          <a:xfrm>
            <a:off x="1691680" y="5610944"/>
            <a:ext cx="5040560" cy="914400"/>
          </a:xfrm>
          <a:prstGeom prst="roundRect">
            <a:avLst/>
          </a:prstGeom>
          <a:ln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44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C H I N A</a:t>
            </a:r>
          </a:p>
        </p:txBody>
      </p:sp>
      <p:sp>
        <p:nvSpPr>
          <p:cNvPr id="8" name="Retângulo de cantos arredondados 7"/>
          <p:cNvSpPr/>
          <p:nvPr/>
        </p:nvSpPr>
        <p:spPr bwMode="auto">
          <a:xfrm>
            <a:off x="179512" y="1124744"/>
            <a:ext cx="8208912" cy="12961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 LEGISLAÇÃO DE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DEFESA COMERCIAL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BRASILEIRA SEGUE O QUE DETERMINA OS ACORDOS DA 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OMC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– ORGANIZAÇÃO MUNDIAL DO COMÉRCIO.</a:t>
            </a:r>
          </a:p>
        </p:txBody>
      </p:sp>
      <p:sp>
        <p:nvSpPr>
          <p:cNvPr id="10" name="Retângulo de cantos arredondados 9"/>
          <p:cNvSpPr/>
          <p:nvPr/>
        </p:nvSpPr>
        <p:spPr bwMode="auto">
          <a:xfrm>
            <a:off x="170385" y="2564904"/>
            <a:ext cx="8208912" cy="12961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i="1" dirty="0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</a:rPr>
              <a:t>A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CREDIBILIDADE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NO PROCESSO CONDUZIDO PELO MDIC/SECEX/DECOM E NA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OBJETIVIDADE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DOS RELATÓRIOS PRODUZIDOS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.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" name="Retângulo de cantos arredondados 10"/>
          <p:cNvSpPr/>
          <p:nvPr/>
        </p:nvSpPr>
        <p:spPr bwMode="auto">
          <a:xfrm>
            <a:off x="184921" y="4023523"/>
            <a:ext cx="8208912" cy="12961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FRAGILIDADES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pt-BR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NAS 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DISCUSSÕES.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tângulo de cantos arredondados 11"/>
          <p:cNvSpPr/>
          <p:nvPr/>
        </p:nvSpPr>
        <p:spPr bwMode="auto">
          <a:xfrm>
            <a:off x="184921" y="116632"/>
            <a:ext cx="8208912" cy="60932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/>
            <a:r>
              <a:rPr lang="pt-BR" sz="3200" b="1" kern="1200" dirty="0" smtClean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VISÃO  </a:t>
            </a:r>
            <a:r>
              <a:rPr lang="pt-BR" sz="3200" b="1" kern="1200" dirty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DA  INDÚSTRIA  </a:t>
            </a:r>
            <a:r>
              <a:rPr lang="pt-BR" sz="3200" b="1" kern="1200" dirty="0" smtClean="0">
                <a:solidFill>
                  <a:srgbClr val="7BC142">
                    <a:lumMod val="75000"/>
                  </a:srgbClr>
                </a:solidFill>
                <a:latin typeface="Calibri"/>
                <a:ea typeface="+mn-ea"/>
                <a:cs typeface="+mn-cs"/>
              </a:rPr>
              <a:t>VIDREIRA</a:t>
            </a:r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endParaRPr lang="pt-BR" sz="20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3430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2222666" y="2132856"/>
            <a:ext cx="4149534" cy="1015663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6000" i="1" spc="6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OBRIGADO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2505177" y="4212377"/>
            <a:ext cx="3650999" cy="707886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4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Lucien Belmonte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3350136" y="5022879"/>
            <a:ext cx="1797928" cy="584775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32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BIVIDR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1023775" y="5445224"/>
            <a:ext cx="7076617" cy="400110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pt-BR" sz="20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ssociação Técnica Brasileira das Indústrias Automáticas de Vidro</a:t>
            </a:r>
          </a:p>
        </p:txBody>
      </p:sp>
    </p:spTree>
    <p:extLst>
      <p:ext uri="{BB962C8B-B14F-4D97-AF65-F5344CB8AC3E}">
        <p14:creationId xmlns:p14="http://schemas.microsoft.com/office/powerpoint/2010/main" val="4662175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DIvW3.lkmALMp_hZfl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rPewDwqUWmKkGC5zRO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oPCSaDm0utby9hU_QX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Wl_2nV2kGM9N4Pnn1M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WEbDEtyEO4EZoFowAj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etqxNEEKT8ETFNlIP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ic3xQIEmtLHXIdmiG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6_dFlUaUm0Zjvt.8D_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Un13OaZkyQ7r6LFBU2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DIvW3.lkmALMp_hZfl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Wl_2nV2kGM9N4Pnn1M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WEbDEtyEO4EZoFowAj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etqxNEEKT8ETFNlIP2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ic3xQIEmtLHXIdmiG9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6_dFlUaUm0Zjvt.8D_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DIvW3.lkmALMp_hZfl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PcA4GEIEGNf6PGaMjp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Wl_2nV2kGM9N4Pnn1M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WEbDEtyEO4EZoFowAj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etqxNEEKT8ETFNlIP2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ic3xQIEmtLHXIdmiG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6_dFlUaUm0Zjvt.8D_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DIvW3.lkmALMp_hZfl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Wl_2nV2kGM9N4Pnn1M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WEbDEtyEO4EZoFowAj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etqxNEEKT8ETFNlIP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ic3xQIEmtLHXIdmi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6_dFlUaUm0Zjvt.8D_Ww"/>
</p:tagLst>
</file>

<file path=ppt/theme/theme1.xml><?xml version="1.0" encoding="utf-8"?>
<a:theme xmlns:a="http://schemas.openxmlformats.org/drawingml/2006/main" name="1_Template_Red sem Gray">
  <a:themeElements>
    <a:clrScheme name="MonitorRed">
      <a:dk1>
        <a:srgbClr val="000000"/>
      </a:dk1>
      <a:lt1>
        <a:srgbClr val="FFFFFF"/>
      </a:lt1>
      <a:dk2>
        <a:srgbClr val="0D96A4"/>
      </a:dk2>
      <a:lt2>
        <a:srgbClr val="6B747C"/>
      </a:lt2>
      <a:accent1>
        <a:srgbClr val="931B1F"/>
      </a:accent1>
      <a:accent2>
        <a:srgbClr val="FFC70A"/>
      </a:accent2>
      <a:accent3>
        <a:srgbClr val="0E4B63"/>
      </a:accent3>
      <a:accent4>
        <a:srgbClr val="7BC142"/>
      </a:accent4>
      <a:accent5>
        <a:srgbClr val="6B747C"/>
      </a:accent5>
      <a:accent6>
        <a:srgbClr val="0D96A4"/>
      </a:accent6>
      <a:hlink>
        <a:srgbClr val="0E4B63"/>
      </a:hlink>
      <a:folHlink>
        <a:srgbClr val="7BC142"/>
      </a:folHlink>
    </a:clrScheme>
    <a:fontScheme name="MonitorRed_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square" lIns="45720" rIns="4572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MonitorClean 1">
        <a:dk1>
          <a:srgbClr val="000000"/>
        </a:dk1>
        <a:lt1>
          <a:srgbClr val="FFFFFF"/>
        </a:lt1>
        <a:dk2>
          <a:srgbClr val="003399"/>
        </a:dk2>
        <a:lt2>
          <a:srgbClr val="CCFF99"/>
        </a:lt2>
        <a:accent1>
          <a:srgbClr val="008000"/>
        </a:accent1>
        <a:accent2>
          <a:srgbClr val="FFCC66"/>
        </a:accent2>
        <a:accent3>
          <a:srgbClr val="AAADCA"/>
        </a:accent3>
        <a:accent4>
          <a:srgbClr val="DADADA"/>
        </a:accent4>
        <a:accent5>
          <a:srgbClr val="AAC0AA"/>
        </a:accent5>
        <a:accent6>
          <a:srgbClr val="E7B95C"/>
        </a:accent6>
        <a:hlink>
          <a:srgbClr val="0099CC"/>
        </a:hlink>
        <a:folHlink>
          <a:srgbClr val="99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nitorClean 2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4">
        <a:dk1>
          <a:srgbClr val="000000"/>
        </a:dk1>
        <a:lt1>
          <a:srgbClr val="FFFFFF"/>
        </a:lt1>
        <a:dk2>
          <a:srgbClr val="99E4FF"/>
        </a:dk2>
        <a:lt2>
          <a:srgbClr val="3AB721"/>
        </a:lt2>
        <a:accent1>
          <a:srgbClr val="CC3300"/>
        </a:accent1>
        <a:accent2>
          <a:srgbClr val="00ACA8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009B98"/>
        </a:accent6>
        <a:hlink>
          <a:srgbClr val="FFCC00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5">
        <a:dk1>
          <a:srgbClr val="000000"/>
        </a:dk1>
        <a:lt1>
          <a:srgbClr val="FFFFFF"/>
        </a:lt1>
        <a:dk2>
          <a:srgbClr val="82B5CA"/>
        </a:dk2>
        <a:lt2>
          <a:srgbClr val="067875"/>
        </a:lt2>
        <a:accent1>
          <a:srgbClr val="660033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6">
        <a:dk1>
          <a:srgbClr val="000000"/>
        </a:dk1>
        <a:lt1>
          <a:srgbClr val="FFFFFF"/>
        </a:lt1>
        <a:dk2>
          <a:srgbClr val="82B5CA"/>
        </a:dk2>
        <a:lt2>
          <a:srgbClr val="3F5F1F"/>
        </a:lt2>
        <a:accent1>
          <a:srgbClr val="990000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CAAAAA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Template_Red sem Gray">
  <a:themeElements>
    <a:clrScheme name="MonitorRed">
      <a:dk1>
        <a:srgbClr val="000000"/>
      </a:dk1>
      <a:lt1>
        <a:srgbClr val="FFFFFF"/>
      </a:lt1>
      <a:dk2>
        <a:srgbClr val="0D96A4"/>
      </a:dk2>
      <a:lt2>
        <a:srgbClr val="6B747C"/>
      </a:lt2>
      <a:accent1>
        <a:srgbClr val="931B1F"/>
      </a:accent1>
      <a:accent2>
        <a:srgbClr val="FFC70A"/>
      </a:accent2>
      <a:accent3>
        <a:srgbClr val="0E4B63"/>
      </a:accent3>
      <a:accent4>
        <a:srgbClr val="7BC142"/>
      </a:accent4>
      <a:accent5>
        <a:srgbClr val="6B747C"/>
      </a:accent5>
      <a:accent6>
        <a:srgbClr val="0D96A4"/>
      </a:accent6>
      <a:hlink>
        <a:srgbClr val="0E4B63"/>
      </a:hlink>
      <a:folHlink>
        <a:srgbClr val="7BC142"/>
      </a:folHlink>
    </a:clrScheme>
    <a:fontScheme name="MonitorRed_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square" lIns="45720" rIns="4572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MonitorClean 1">
        <a:dk1>
          <a:srgbClr val="000000"/>
        </a:dk1>
        <a:lt1>
          <a:srgbClr val="FFFFFF"/>
        </a:lt1>
        <a:dk2>
          <a:srgbClr val="003399"/>
        </a:dk2>
        <a:lt2>
          <a:srgbClr val="CCFF99"/>
        </a:lt2>
        <a:accent1>
          <a:srgbClr val="008000"/>
        </a:accent1>
        <a:accent2>
          <a:srgbClr val="FFCC66"/>
        </a:accent2>
        <a:accent3>
          <a:srgbClr val="AAADCA"/>
        </a:accent3>
        <a:accent4>
          <a:srgbClr val="DADADA"/>
        </a:accent4>
        <a:accent5>
          <a:srgbClr val="AAC0AA"/>
        </a:accent5>
        <a:accent6>
          <a:srgbClr val="E7B95C"/>
        </a:accent6>
        <a:hlink>
          <a:srgbClr val="0099CC"/>
        </a:hlink>
        <a:folHlink>
          <a:srgbClr val="99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nitorClean 2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4">
        <a:dk1>
          <a:srgbClr val="000000"/>
        </a:dk1>
        <a:lt1>
          <a:srgbClr val="FFFFFF"/>
        </a:lt1>
        <a:dk2>
          <a:srgbClr val="99E4FF"/>
        </a:dk2>
        <a:lt2>
          <a:srgbClr val="3AB721"/>
        </a:lt2>
        <a:accent1>
          <a:srgbClr val="CC3300"/>
        </a:accent1>
        <a:accent2>
          <a:srgbClr val="00ACA8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009B98"/>
        </a:accent6>
        <a:hlink>
          <a:srgbClr val="FFCC00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5">
        <a:dk1>
          <a:srgbClr val="000000"/>
        </a:dk1>
        <a:lt1>
          <a:srgbClr val="FFFFFF"/>
        </a:lt1>
        <a:dk2>
          <a:srgbClr val="82B5CA"/>
        </a:dk2>
        <a:lt2>
          <a:srgbClr val="067875"/>
        </a:lt2>
        <a:accent1>
          <a:srgbClr val="660033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6">
        <a:dk1>
          <a:srgbClr val="000000"/>
        </a:dk1>
        <a:lt1>
          <a:srgbClr val="FFFFFF"/>
        </a:lt1>
        <a:dk2>
          <a:srgbClr val="82B5CA"/>
        </a:dk2>
        <a:lt2>
          <a:srgbClr val="3F5F1F"/>
        </a:lt2>
        <a:accent1>
          <a:srgbClr val="990000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CAAAAA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Template_Red sem Gray">
  <a:themeElements>
    <a:clrScheme name="MonitorRed">
      <a:dk1>
        <a:srgbClr val="000000"/>
      </a:dk1>
      <a:lt1>
        <a:srgbClr val="FFFFFF"/>
      </a:lt1>
      <a:dk2>
        <a:srgbClr val="0D96A4"/>
      </a:dk2>
      <a:lt2>
        <a:srgbClr val="6B747C"/>
      </a:lt2>
      <a:accent1>
        <a:srgbClr val="931B1F"/>
      </a:accent1>
      <a:accent2>
        <a:srgbClr val="FFC70A"/>
      </a:accent2>
      <a:accent3>
        <a:srgbClr val="0E4B63"/>
      </a:accent3>
      <a:accent4>
        <a:srgbClr val="7BC142"/>
      </a:accent4>
      <a:accent5>
        <a:srgbClr val="6B747C"/>
      </a:accent5>
      <a:accent6>
        <a:srgbClr val="0D96A4"/>
      </a:accent6>
      <a:hlink>
        <a:srgbClr val="0E4B63"/>
      </a:hlink>
      <a:folHlink>
        <a:srgbClr val="7BC142"/>
      </a:folHlink>
    </a:clrScheme>
    <a:fontScheme name="MonitorRed_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square" lIns="45720" rIns="4572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MonitorClean 1">
        <a:dk1>
          <a:srgbClr val="000000"/>
        </a:dk1>
        <a:lt1>
          <a:srgbClr val="FFFFFF"/>
        </a:lt1>
        <a:dk2>
          <a:srgbClr val="003399"/>
        </a:dk2>
        <a:lt2>
          <a:srgbClr val="CCFF99"/>
        </a:lt2>
        <a:accent1>
          <a:srgbClr val="008000"/>
        </a:accent1>
        <a:accent2>
          <a:srgbClr val="FFCC66"/>
        </a:accent2>
        <a:accent3>
          <a:srgbClr val="AAADCA"/>
        </a:accent3>
        <a:accent4>
          <a:srgbClr val="DADADA"/>
        </a:accent4>
        <a:accent5>
          <a:srgbClr val="AAC0AA"/>
        </a:accent5>
        <a:accent6>
          <a:srgbClr val="E7B95C"/>
        </a:accent6>
        <a:hlink>
          <a:srgbClr val="0099CC"/>
        </a:hlink>
        <a:folHlink>
          <a:srgbClr val="99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nitorClean 2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4">
        <a:dk1>
          <a:srgbClr val="000000"/>
        </a:dk1>
        <a:lt1>
          <a:srgbClr val="FFFFFF"/>
        </a:lt1>
        <a:dk2>
          <a:srgbClr val="99E4FF"/>
        </a:dk2>
        <a:lt2>
          <a:srgbClr val="3AB721"/>
        </a:lt2>
        <a:accent1>
          <a:srgbClr val="CC3300"/>
        </a:accent1>
        <a:accent2>
          <a:srgbClr val="00ACA8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009B98"/>
        </a:accent6>
        <a:hlink>
          <a:srgbClr val="FFCC00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5">
        <a:dk1>
          <a:srgbClr val="000000"/>
        </a:dk1>
        <a:lt1>
          <a:srgbClr val="FFFFFF"/>
        </a:lt1>
        <a:dk2>
          <a:srgbClr val="82B5CA"/>
        </a:dk2>
        <a:lt2>
          <a:srgbClr val="067875"/>
        </a:lt2>
        <a:accent1>
          <a:srgbClr val="660033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6">
        <a:dk1>
          <a:srgbClr val="000000"/>
        </a:dk1>
        <a:lt1>
          <a:srgbClr val="FFFFFF"/>
        </a:lt1>
        <a:dk2>
          <a:srgbClr val="82B5CA"/>
        </a:dk2>
        <a:lt2>
          <a:srgbClr val="3F5F1F"/>
        </a:lt2>
        <a:accent1>
          <a:srgbClr val="990000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CAAAAA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Template_Red sem Gray">
  <a:themeElements>
    <a:clrScheme name="MonitorRed">
      <a:dk1>
        <a:srgbClr val="000000"/>
      </a:dk1>
      <a:lt1>
        <a:srgbClr val="FFFFFF"/>
      </a:lt1>
      <a:dk2>
        <a:srgbClr val="0D96A4"/>
      </a:dk2>
      <a:lt2>
        <a:srgbClr val="6B747C"/>
      </a:lt2>
      <a:accent1>
        <a:srgbClr val="931B1F"/>
      </a:accent1>
      <a:accent2>
        <a:srgbClr val="FFC70A"/>
      </a:accent2>
      <a:accent3>
        <a:srgbClr val="0E4B63"/>
      </a:accent3>
      <a:accent4>
        <a:srgbClr val="7BC142"/>
      </a:accent4>
      <a:accent5>
        <a:srgbClr val="6B747C"/>
      </a:accent5>
      <a:accent6>
        <a:srgbClr val="0D96A4"/>
      </a:accent6>
      <a:hlink>
        <a:srgbClr val="0E4B63"/>
      </a:hlink>
      <a:folHlink>
        <a:srgbClr val="7BC142"/>
      </a:folHlink>
    </a:clrScheme>
    <a:fontScheme name="MonitorRed_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square" lIns="45720" rIns="4572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MonitorClean 1">
        <a:dk1>
          <a:srgbClr val="000000"/>
        </a:dk1>
        <a:lt1>
          <a:srgbClr val="FFFFFF"/>
        </a:lt1>
        <a:dk2>
          <a:srgbClr val="003399"/>
        </a:dk2>
        <a:lt2>
          <a:srgbClr val="CCFF99"/>
        </a:lt2>
        <a:accent1>
          <a:srgbClr val="008000"/>
        </a:accent1>
        <a:accent2>
          <a:srgbClr val="FFCC66"/>
        </a:accent2>
        <a:accent3>
          <a:srgbClr val="AAADCA"/>
        </a:accent3>
        <a:accent4>
          <a:srgbClr val="DADADA"/>
        </a:accent4>
        <a:accent5>
          <a:srgbClr val="AAC0AA"/>
        </a:accent5>
        <a:accent6>
          <a:srgbClr val="E7B95C"/>
        </a:accent6>
        <a:hlink>
          <a:srgbClr val="0099CC"/>
        </a:hlink>
        <a:folHlink>
          <a:srgbClr val="99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nitorClean 2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4">
        <a:dk1>
          <a:srgbClr val="000000"/>
        </a:dk1>
        <a:lt1>
          <a:srgbClr val="FFFFFF"/>
        </a:lt1>
        <a:dk2>
          <a:srgbClr val="99E4FF"/>
        </a:dk2>
        <a:lt2>
          <a:srgbClr val="3AB721"/>
        </a:lt2>
        <a:accent1>
          <a:srgbClr val="CC3300"/>
        </a:accent1>
        <a:accent2>
          <a:srgbClr val="00ACA8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009B98"/>
        </a:accent6>
        <a:hlink>
          <a:srgbClr val="FFCC00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5">
        <a:dk1>
          <a:srgbClr val="000000"/>
        </a:dk1>
        <a:lt1>
          <a:srgbClr val="FFFFFF"/>
        </a:lt1>
        <a:dk2>
          <a:srgbClr val="82B5CA"/>
        </a:dk2>
        <a:lt2>
          <a:srgbClr val="067875"/>
        </a:lt2>
        <a:accent1>
          <a:srgbClr val="660033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nitorClean 6">
        <a:dk1>
          <a:srgbClr val="000000"/>
        </a:dk1>
        <a:lt1>
          <a:srgbClr val="FFFFFF"/>
        </a:lt1>
        <a:dk2>
          <a:srgbClr val="82B5CA"/>
        </a:dk2>
        <a:lt2>
          <a:srgbClr val="3F5F1F"/>
        </a:lt2>
        <a:accent1>
          <a:srgbClr val="990000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CAAAAA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46</TotalTime>
  <Words>365</Words>
  <Application>Microsoft Office PowerPoint</Application>
  <PresentationFormat>Apresentação na tela (4:3)</PresentationFormat>
  <Paragraphs>76</Paragraphs>
  <Slides>9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9</vt:i4>
      </vt:variant>
    </vt:vector>
  </HeadingPairs>
  <TitlesOfParts>
    <vt:vector size="22" baseType="lpstr">
      <vt:lpstr>Arial</vt:lpstr>
      <vt:lpstr>Calibri</vt:lpstr>
      <vt:lpstr>Georgia</vt:lpstr>
      <vt:lpstr>Noto Symbol</vt:lpstr>
      <vt:lpstr>Trebuchet MS</vt:lpstr>
      <vt:lpstr>Wingdings</vt:lpstr>
      <vt:lpstr>ヒラギノ角ゴ Pro W3</vt:lpstr>
      <vt:lpstr>1_Template_Red sem Gray</vt:lpstr>
      <vt:lpstr>2_Template_Red sem Gray</vt:lpstr>
      <vt:lpstr>3_Template_Red sem Gray</vt:lpstr>
      <vt:lpstr>4_Template_Red sem Gray</vt:lpstr>
      <vt:lpstr>think-cell Slide</vt:lpstr>
      <vt:lpstr>Planilha</vt:lpstr>
      <vt:lpstr>Apresentação do PowerPoint</vt:lpstr>
      <vt:lpstr>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na Paula</dc:creator>
  <cp:lastModifiedBy>Andressa Paranhos Guimarães</cp:lastModifiedBy>
  <cp:revision>596</cp:revision>
  <cp:lastPrinted>2016-11-21T13:36:18Z</cp:lastPrinted>
  <dcterms:modified xsi:type="dcterms:W3CDTF">2016-11-21T15:34:09Z</dcterms:modified>
</cp:coreProperties>
</file>